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5"/>
  </p:notesMasterIdLst>
  <p:sldIdLst>
    <p:sldId id="3284" r:id="rId5"/>
    <p:sldId id="2569" r:id="rId6"/>
    <p:sldId id="3275" r:id="rId7"/>
    <p:sldId id="2542" r:id="rId8"/>
    <p:sldId id="3277" r:id="rId9"/>
    <p:sldId id="3283" r:id="rId10"/>
    <p:sldId id="3285" r:id="rId11"/>
    <p:sldId id="3288" r:id="rId12"/>
    <p:sldId id="3289" r:id="rId13"/>
    <p:sldId id="2558" r:id="rId14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13"/>
    <p:restoredTop sz="95788"/>
  </p:normalViewPr>
  <p:slideViewPr>
    <p:cSldViewPr snapToGrid="0">
      <p:cViewPr varScale="1">
        <p:scale>
          <a:sx n="142" d="100"/>
          <a:sy n="142" d="100"/>
        </p:scale>
        <p:origin x="704" y="168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06.11.20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392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004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578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38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6. Nov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846659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Grundsätze für die Erstellung einer digitalen UI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Thomas </a:t>
            </a:r>
            <a:r>
              <a:rPr lang="de-CH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Betzl</a:t>
            </a:r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Chefkoch, Restaurant Kleine Kappel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r>
              <a:rPr lang="de-DE" sz="1400" dirty="0"/>
              <a:t> und Vorstellungsrund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orstellung Ausgangslage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ckground des </a:t>
            </a:r>
            <a:r>
              <a:rPr lang="de-DE" sz="1400" dirty="0" err="1"/>
              <a:t>Gesprächpartners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ktuelle Bedarfskalkulation im Betrieb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erbesserungspotenziale aktuelle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isualisierung der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eitere Aspekte eines Bedarfsplanungstool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 dirty="0">
                <a:solidFill>
                  <a:prstClr val="black"/>
                </a:solidFill>
                <a:latin typeface="Calibri"/>
              </a:rPr>
              <a:t>15-20 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BACKGROUND DES GESPRÄCHPARTNER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lange arbeiten Sie schon in der Gastronomie / in Ihrem Betrieb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47 Jahre alt, 35 Jahre in de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Gastro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, verschiedene Betriebe, auch in der Bundeswehr Feldküche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Jetzt schon lange im elterlichen Betrieb, verantwortlich für die administrative Geschäftsführung und die Bewirtung / das Koch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sind ihre Aufgaben (neben dem eigentlichen Kochen)? 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5 Festangestellte + Teilzeitangestellte führen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lle administrativen Tätigkeiten wie Bestellungen, Lagerverwaltung, Marketing, Preisverhandlungen etc.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ehört der Einkauf / Bedarfsplanung zu Ihrem Tätigkeitsbereich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Ja, Tätigkeit eines Allrounders, der alles selbst macht.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Verständnis über die Historie, die Erfahrung und die Position der Person in der Organisation erlangen 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KTUELLE BEDARFSKALKULATION IM BETRIEB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funktioniert die aktuelle Bedarfsplanung der Gerichte / Lebensmittel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Basiert auf “Gefühl“ und Erfahrungswissen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Gibt es aktuell eine Übersicht auf der ersichtlich ist, was und in welcher Menge eingekauft werden muss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Gespür wieviel Ware er braucht, 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Führt eine Bestandsliste mit allen Produkten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weiteren Elemente sind für eine Bedarfsplanung unbedingt zu beachte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chtige Elemente: Jahreszeit, Wetter, welcher Wochentag, Wochenende ist anders, die Anzahl der Reservationen 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aktuelle Bedarfsplanung und den Einkauf der verschiedenen Gerichte erlangen  </a:t>
            </a:r>
          </a:p>
        </p:txBody>
      </p:sp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ERBESSERUNGSPOTENZIALE AKTUELLE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ist aktuell verbesserungswürdig an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Ist in seinem Prozess eingespielt und hat ihn für sich optimiert.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könnte in Ihrer Bedarfsplanung einfacher gestaltet sei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Das Management der Vertreter benötigt viel Zeit und könnte einfacher / zeitsparender gestaltet sein.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Wünsche, Anregungen, Verbesserungspotenzial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Den optimalen Prozess einer bedürfnisgerechten Bedarfsplanung eruieren</a:t>
            </a:r>
          </a:p>
        </p:txBody>
      </p:sp>
    </p:spTree>
    <p:extLst>
      <p:ext uri="{BB962C8B-B14F-4D97-AF65-F5344CB8AC3E}">
        <p14:creationId xmlns:p14="http://schemas.microsoft.com/office/powerpoint/2010/main" val="1363268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ISUALISIERUNG DER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894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st es für Sie entscheidender, eine Erklärung über die Funktionsweise des Algorithmus zu erhalten, oder eine die die aktuell ausgesprochene Empfehlung erklärt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ürde einem solchen Programm nicht vertrau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Müsste erst überzeugt werden, was ein solches Programm leisten kann und was für Möglichkeiten es bietet.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Informationen müssen auf einer Visualisierung zur Bedarfsplanung integriert sei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Produkte, die bestellt werden, nach Gruppen sortiert: Trockenlager, Getränke, Fisch, Fleisch, Frische Sachen, Gemüse, Obst 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öglichkeit neue Artikel einzupflegen und Alte  zu löschen -&gt; Interaktivität in der App, Benutzer hat Kontrolle über die App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Verknüpft mit den Rechnungen, um eine Übersicht die Preisentwicklung und der Nachfrage nach Produkten zu haben -&gt; Reporting Tool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Produkte werden markiert und hervorgehoben, die gerade Saison haben 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Schnelle Einarbeitung, einfache Bedienung, deutliche und klare Visualisierungen, nicht überfordernd, auf die Kernfunktionen reduziert, muss Produktivität im Alltag steigern und nicht bremsen</a:t>
            </a:r>
          </a:p>
          <a:p>
            <a:pPr defTabSz="402325"/>
            <a:r>
              <a:rPr lang="de-DE" sz="1200" dirty="0">
                <a:solidFill>
                  <a:schemeClr val="tx1"/>
                </a:solidFill>
                <a:latin typeface="Calibri"/>
              </a:rPr>
              <a:t>	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52322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Nutzung eines nutzerfreundlichen und einfach verständlichen Visualisierung erlangen</a:t>
            </a:r>
          </a:p>
        </p:txBody>
      </p:sp>
    </p:spTree>
    <p:extLst>
      <p:ext uri="{BB962C8B-B14F-4D97-AF65-F5344CB8AC3E}">
        <p14:creationId xmlns:p14="http://schemas.microsoft.com/office/powerpoint/2010/main" val="866898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WEITERE ASPEKTE EINES BEDARFSPLANUNGSTOOLS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7444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Elemente müsste ein solches Tool aufweisen, damit Sie den Empfehlung dessen vertrauen könn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Vertrauen in das Tool scheint erstmal nicht möglich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äre eine interaktive „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What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If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…“ Funktion hilfreich, die unterschiedliche Szenarios simulieren kan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Braucht keine interaktiven Spielereien, muss Zeit im Alltag sparen und nicht Zeit fressen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wiefern müssten verschiedene Zeithorizonte betrachtet werden, da sich Lebensmittel unterschiedlich lange halten oder aufgrund von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Saisonalität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Nachfrageschwankungen etc.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Braucht keine interaktiven Spielereien, muss Zeit im Alltag sparen und nicht Zeit fressen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uss man einzelne Gerichte oder andere Faktoren ausklammern können bspw. (Ausklammern von bestimmten Lebensmitteln aufgrund Allergien oder Geschmacksvorlieben, bei saisonalen Gerichten etc.)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Braucht keine interaktiven Spielereien, muss Zeit im Alltag sparen und nicht Zeit fressen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weiteren Funktionen müsste ein Tool zur Bedarfsplanung von Gerichten aufweis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nventurliste, was habe ich für einen Bestand, monatlich abrufbar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App ist mit Vertreter / Lieferanten verknüpft, wer hat das günstigste Angebot -&gt; Zeitersparnis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Probleme und Limitationen der Datennutzung verstehen.</a:t>
            </a:r>
          </a:p>
        </p:txBody>
      </p:sp>
    </p:spTree>
    <p:extLst>
      <p:ext uri="{BB962C8B-B14F-4D97-AF65-F5344CB8AC3E}">
        <p14:creationId xmlns:p14="http://schemas.microsoft.com/office/powerpoint/2010/main" val="2346587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IESSENDE FRAGEN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bei Ihnen im Unternehmen irgendwelche Tools oder Applikationen die mit Maschine Learning oder KI arbeit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Tätigkeiten und Prozesse sind vor allem analog und auf Erfahrungswissen ausgerichtet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rfahrung im Team mit digitaler </a:t>
            </a:r>
            <a:r>
              <a:rPr lang="de-DE" sz="1400">
                <a:solidFill>
                  <a:schemeClr val="tx1"/>
                </a:solidFill>
                <a:latin typeface="Calibri"/>
                <a:cs typeface="Calibri"/>
              </a:rPr>
              <a:t>Software gering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.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Sonstige Fragen zum Thema klären.</a:t>
            </a:r>
          </a:p>
        </p:txBody>
      </p:sp>
    </p:spTree>
    <p:extLst>
      <p:ext uri="{BB962C8B-B14F-4D97-AF65-F5344CB8AC3E}">
        <p14:creationId xmlns:p14="http://schemas.microsoft.com/office/powerpoint/2010/main" val="3156788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837</Words>
  <Application>Microsoft Macintosh PowerPoint</Application>
  <PresentationFormat>Bildschirmpräsentation (16:9)</PresentationFormat>
  <Paragraphs>113</Paragraphs>
  <Slides>10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27</cp:revision>
  <cp:lastPrinted>2020-03-29T12:41:23Z</cp:lastPrinted>
  <dcterms:created xsi:type="dcterms:W3CDTF">2019-10-08T08:06:46Z</dcterms:created>
  <dcterms:modified xsi:type="dcterms:W3CDTF">2020-11-06T13:0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